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</p:sldMasterIdLst>
  <p:notesMasterIdLst>
    <p:notesMasterId r:id="rId12"/>
  </p:notesMasterIdLst>
  <p:sldIdLst>
    <p:sldId id="2147479750" r:id="rId8"/>
    <p:sldId id="2147479753" r:id="rId9"/>
    <p:sldId id="2147479752" r:id="rId10"/>
    <p:sldId id="2147479755" r:id="rId1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2376DA-1B32-4D83-A4E4-E2890E63B943}" v="13" dt="2025-08-27T15:40:53.1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2130" y="8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10/09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>
              <a:highlight>
                <a:srgbClr val="FFFF00"/>
              </a:highlight>
            </a:endParaRPr>
          </a:p>
          <a:p>
            <a:endParaRPr lang="fr-FR">
              <a:highlight>
                <a:srgbClr val="FFFF00"/>
              </a:highlight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B9880-5783-4899-9FDC-04A9C879962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504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N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N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10/09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N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N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N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BFT | Home, Building, Urban Access Automation">
            <a:extLst>
              <a:ext uri="{FF2B5EF4-FFF2-40B4-BE49-F238E27FC236}">
                <a16:creationId xmlns:a16="http://schemas.microsoft.com/office/drawing/2014/main" id="{859641F6-EDBA-0B52-C22A-0DC1D198B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r="-2" b="-2"/>
          <a:stretch>
            <a:fillRect/>
          </a:stretch>
        </p:blipFill>
        <p:spPr bwMode="auto">
          <a:xfrm>
            <a:off x="20" y="10"/>
            <a:ext cx="6095980" cy="685799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2057" name="Subtitle 2">
            <a:extLst>
              <a:ext uri="{FF2B5EF4-FFF2-40B4-BE49-F238E27FC236}">
                <a16:creationId xmlns:a16="http://schemas.microsoft.com/office/drawing/2014/main" id="{2B7C5EA4-F276-191E-C028-16BCD26AB4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latin typeface="Somfy Sans" pitchFamily="2" charset="0"/>
                <a:ea typeface="+mj-ea"/>
                <a:cs typeface="+mj-cs"/>
              </a:rPr>
              <a:t>GUIDE TO CHOOSING</a:t>
            </a:r>
          </a:p>
        </p:txBody>
      </p:sp>
      <p:sp>
        <p:nvSpPr>
          <p:cNvPr id="2" name="Titre 5">
            <a:extLst>
              <a:ext uri="{FF2B5EF4-FFF2-40B4-BE49-F238E27FC236}">
                <a16:creationId xmlns:a16="http://schemas.microsoft.com/office/drawing/2014/main" id="{13862FA1-35E5-5414-6B0F-D270DEBCDB8D}"/>
              </a:ext>
            </a:extLst>
          </p:cNvPr>
          <p:cNvSpPr txBox="1">
            <a:spLocks/>
          </p:cNvSpPr>
          <p:nvPr/>
        </p:nvSpPr>
        <p:spPr>
          <a:xfrm>
            <a:off x="7013542" y="1709929"/>
            <a:ext cx="4318489" cy="1367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rgbClr val="25485A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</a:pPr>
            <a:r>
              <a:rPr lang="it-IT" dirty="0"/>
              <a:t>ARES ULTRA BT B</a:t>
            </a:r>
          </a:p>
          <a:p>
            <a:pPr algn="ctr">
              <a:spcBef>
                <a:spcPts val="1000"/>
              </a:spcBef>
            </a:pPr>
            <a:r>
              <a:rPr lang="it-IT" dirty="0"/>
              <a:t>ARES BT B</a:t>
            </a:r>
            <a:endParaRPr lang="fr-FR" b="1" i="0" kern="1200" dirty="0">
              <a:latin typeface="Somfy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067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AB3FAE70-E801-C02D-8678-70CB1D94A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872487"/>
            <a:ext cx="11126798" cy="2794021"/>
          </a:xfrm>
        </p:spPr>
        <p:txBody>
          <a:bodyPr/>
          <a:lstStyle/>
          <a:p>
            <a:pPr fontAlgn="base"/>
            <a:r>
              <a:rPr lang="en-US" sz="1800" cap="all" dirty="0"/>
              <a:t>VALUE PROPOSITION: </a:t>
            </a:r>
            <a:r>
              <a:rPr lang="en-US" sz="1800" b="0" dirty="0"/>
              <a:t>​New Ares is engineered to streamline sliding gate automation installation in single &amp; multi-residential and commercial buildings, offering faster setup with improved speed and security. Utilizing </a:t>
            </a:r>
            <a:r>
              <a:rPr lang="en-US" sz="1800" b="0" dirty="0" err="1"/>
              <a:t>EasyAxs</a:t>
            </a:r>
            <a:r>
              <a:rPr lang="en-US" sz="1800" b="0" dirty="0"/>
              <a:t> tools, it ensures efficient installation and remote configuration. The system also optimizes energy usage to meet European standards, promoting a minimal environmental footprint through reduced power consumption.</a:t>
            </a:r>
            <a:r>
              <a:rPr lang="fr-FR" sz="1800" b="0" dirty="0"/>
              <a:t>​</a:t>
            </a:r>
          </a:p>
          <a:p>
            <a:pPr fontAlgn="base"/>
            <a:r>
              <a:rPr lang="en-US" sz="1800" cap="all" dirty="0"/>
              <a:t>SMART FEATURES </a:t>
            </a:r>
            <a:r>
              <a:rPr lang="en-US" sz="1800" b="0" cap="all" dirty="0"/>
              <a:t>– </a:t>
            </a:r>
            <a:r>
              <a:rPr lang="en-US" sz="1800" b="0" dirty="0"/>
              <a:t>new</a:t>
            </a:r>
            <a:r>
              <a:rPr lang="en-US" sz="1800" b="0" cap="all" dirty="0"/>
              <a:t> </a:t>
            </a:r>
            <a:r>
              <a:rPr lang="en-US" sz="1800" b="0" dirty="0"/>
              <a:t>connected solutions for installers and end users, thanks to U-Link 2.0 and U-Security ​</a:t>
            </a:r>
          </a:p>
          <a:p>
            <a:pPr fontAlgn="base"/>
            <a:r>
              <a:rPr lang="en-US" sz="1800" cap="all" dirty="0"/>
              <a:t>FAST MANEUVERING </a:t>
            </a:r>
            <a:r>
              <a:rPr lang="en-US" sz="1800" b="0" cap="all" dirty="0"/>
              <a:t>– </a:t>
            </a:r>
            <a:r>
              <a:rPr lang="en-US" sz="1800" b="0" dirty="0"/>
              <a:t>new Ares Ultra BT B and Ares BT B increase gate maneuvering speed by 30%</a:t>
            </a:r>
            <a:endParaRPr lang="fr-FR" sz="1800" b="0" dirty="0"/>
          </a:p>
          <a:p>
            <a:pPr fontAlgn="base"/>
            <a:endParaRPr lang="fr-FR" sz="1800" b="0" dirty="0"/>
          </a:p>
          <a:p>
            <a:endParaRPr lang="it-IT" dirty="0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FB3A8E9-918F-9619-1FE6-F502522B1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AD0353B-8E1C-4997-D782-D32A07541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2</a:t>
            </a:fld>
            <a:endParaRPr lang="en-GB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50F60677-0CBD-461F-4F21-D40F21D97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/>
              <a:t>ARES ULTRA BT B</a:t>
            </a:r>
            <a:br>
              <a:rPr lang="it-IT" dirty="0"/>
            </a:br>
            <a:r>
              <a:rPr lang="it-IT" dirty="0"/>
              <a:t>ARES BT B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1A4F807-C164-376B-4203-67E91E33E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118" y="603822"/>
            <a:ext cx="1655011" cy="202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552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A7427021-88CD-5AEC-8FF9-B553690F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5581ACD-48D9-AE87-61BF-B5896B8C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3</a:t>
            </a:fld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227553FC-E522-BEB4-730C-C9BE64707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all">
                <a:solidFill>
                  <a:srgbClr val="001C4B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800" dirty="0">
                <a:solidFill>
                  <a:srgbClr val="25485A"/>
                </a:solidFill>
                <a:latin typeface="Somfy Sans" pitchFamily="2" charset="0"/>
              </a:rPr>
              <a:t>PHASE</a:t>
            </a:r>
            <a:r>
              <a:rPr lang="fr-FR" sz="2800" dirty="0"/>
              <a:t> </a:t>
            </a:r>
            <a:r>
              <a:rPr lang="fr-FR" sz="2800" dirty="0">
                <a:solidFill>
                  <a:srgbClr val="25485A"/>
                </a:solidFill>
                <a:latin typeface="Somfy Sans" pitchFamily="2" charset="0"/>
              </a:rPr>
              <a:t>IN ARES ULTRA BT B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8A7304B-DAD0-7E90-327E-011D6DB2A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245" y="978408"/>
            <a:ext cx="1655011" cy="202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Segnaposto contenuto 13">
            <a:extLst>
              <a:ext uri="{FF2B5EF4-FFF2-40B4-BE49-F238E27FC236}">
                <a16:creationId xmlns:a16="http://schemas.microsoft.com/office/drawing/2014/main" id="{0AF3F207-7EEC-936E-BE81-7201186143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8326080"/>
              </p:ext>
            </p:extLst>
          </p:nvPr>
        </p:nvGraphicFramePr>
        <p:xfrm>
          <a:off x="1536245" y="3630612"/>
          <a:ext cx="9007064" cy="1398587"/>
        </p:xfrm>
        <a:graphic>
          <a:graphicData uri="http://schemas.openxmlformats.org/drawingml/2006/table">
            <a:tbl>
              <a:tblPr/>
              <a:tblGrid>
                <a:gridCol w="1281253">
                  <a:extLst>
                    <a:ext uri="{9D8B030D-6E8A-4147-A177-3AD203B41FA5}">
                      <a16:colId xmlns:a16="http://schemas.microsoft.com/office/drawing/2014/main" val="3454468792"/>
                    </a:ext>
                  </a:extLst>
                </a:gridCol>
                <a:gridCol w="919159">
                  <a:extLst>
                    <a:ext uri="{9D8B030D-6E8A-4147-A177-3AD203B41FA5}">
                      <a16:colId xmlns:a16="http://schemas.microsoft.com/office/drawing/2014/main" val="2214498522"/>
                    </a:ext>
                  </a:extLst>
                </a:gridCol>
                <a:gridCol w="1827873">
                  <a:extLst>
                    <a:ext uri="{9D8B030D-6E8A-4147-A177-3AD203B41FA5}">
                      <a16:colId xmlns:a16="http://schemas.microsoft.com/office/drawing/2014/main" val="2920540931"/>
                    </a:ext>
                  </a:extLst>
                </a:gridCol>
                <a:gridCol w="1117614">
                  <a:extLst>
                    <a:ext uri="{9D8B030D-6E8A-4147-A177-3AD203B41FA5}">
                      <a16:colId xmlns:a16="http://schemas.microsoft.com/office/drawing/2014/main" val="790515055"/>
                    </a:ext>
                  </a:extLst>
                </a:gridCol>
                <a:gridCol w="1159394">
                  <a:extLst>
                    <a:ext uri="{9D8B030D-6E8A-4147-A177-3AD203B41FA5}">
                      <a16:colId xmlns:a16="http://schemas.microsoft.com/office/drawing/2014/main" val="1847667531"/>
                    </a:ext>
                  </a:extLst>
                </a:gridCol>
                <a:gridCol w="668479">
                  <a:extLst>
                    <a:ext uri="{9D8B030D-6E8A-4147-A177-3AD203B41FA5}">
                      <a16:colId xmlns:a16="http://schemas.microsoft.com/office/drawing/2014/main" val="2525851626"/>
                    </a:ext>
                  </a:extLst>
                </a:gridCol>
                <a:gridCol w="2033292">
                  <a:extLst>
                    <a:ext uri="{9D8B030D-6E8A-4147-A177-3AD203B41FA5}">
                      <a16:colId xmlns:a16="http://schemas.microsoft.com/office/drawing/2014/main" val="1639963593"/>
                    </a:ext>
                  </a:extLst>
                </a:gridCol>
              </a:tblGrid>
              <a:tr h="570852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FT ID REF.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DM REF.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LD MODEL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STITUTION TYPE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BFT ID REF.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MDM REF.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MODEL​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252722"/>
                  </a:ext>
                </a:extLst>
              </a:tr>
              <a:tr h="242612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6193 00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A 1000       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6203 00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B1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106822"/>
                  </a:ext>
                </a:extLst>
              </a:tr>
              <a:tr h="285426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6191 00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A 1500       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6204 00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B1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5147707"/>
                  </a:ext>
                </a:extLst>
              </a:tr>
              <a:tr h="299697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295 000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1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KIT A 1000 FR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99 00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S ULTRA BT KIT B1000 I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26956"/>
                  </a:ext>
                </a:extLst>
              </a:tr>
            </a:tbl>
          </a:graphicData>
        </a:graphic>
      </p:graphicFrame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C10B070-4DDC-848F-3CDE-D8726A08149E}"/>
              </a:ext>
            </a:extLst>
          </p:cNvPr>
          <p:cNvSpPr txBox="1"/>
          <p:nvPr/>
        </p:nvSpPr>
        <p:spPr>
          <a:xfrm>
            <a:off x="4835236" y="1903722"/>
            <a:ext cx="6168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cap="all" dirty="0">
                <a:solidFill>
                  <a:srgbClr val="25485A"/>
                </a:solidFill>
                <a:latin typeface="Somfy Sans" pitchFamily="2" charset="0"/>
                <a:ea typeface="+mj-ea"/>
                <a:cs typeface="+mj-cs"/>
              </a:rPr>
              <a:t>NEW REFERENCES</a:t>
            </a:r>
          </a:p>
        </p:txBody>
      </p:sp>
    </p:spTree>
    <p:extLst>
      <p:ext uri="{BB962C8B-B14F-4D97-AF65-F5344CB8AC3E}">
        <p14:creationId xmlns:p14="http://schemas.microsoft.com/office/powerpoint/2010/main" val="1390571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EDCFA-7A54-10AF-FAFF-D7C2CE026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6D0D57B3-C127-572A-89BE-C047685B9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2913557-0734-1810-8508-345AE4AD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4</a:t>
            </a:fld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CA1E5537-06E6-50BC-0FA2-5CD94AD27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all">
                <a:solidFill>
                  <a:srgbClr val="001C4B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800" dirty="0">
                <a:solidFill>
                  <a:srgbClr val="25485A"/>
                </a:solidFill>
                <a:latin typeface="Somfy Sans" pitchFamily="2" charset="0"/>
              </a:rPr>
              <a:t>PHASE</a:t>
            </a:r>
            <a:r>
              <a:rPr lang="fr-FR" sz="2800" dirty="0"/>
              <a:t> </a:t>
            </a:r>
            <a:r>
              <a:rPr lang="fr-FR" sz="2800" dirty="0">
                <a:solidFill>
                  <a:srgbClr val="25485A"/>
                </a:solidFill>
                <a:latin typeface="Somfy Sans" pitchFamily="2" charset="0"/>
              </a:rPr>
              <a:t>IN ARES BT B</a:t>
            </a:r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5AF7C051-DDA5-9A4F-7045-78E080ED0173}"/>
              </a:ext>
            </a:extLst>
          </p:cNvPr>
          <p:cNvSpPr>
            <a:spLocks noGrp="1"/>
          </p:cNvSpPr>
          <p:nvPr>
            <p:ph idx="1"/>
          </p:nvPr>
        </p:nvSpPr>
        <p:spPr>
          <a:xfrm flipH="1">
            <a:off x="4379975" y="1624710"/>
            <a:ext cx="3200400" cy="88296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t-IT" sz="2800" cap="all" dirty="0">
                <a:ea typeface="+mj-ea"/>
                <a:cs typeface="+mj-cs"/>
              </a:rPr>
              <a:t>NEW REFERENCE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F1F46E1-FFA3-D241-4716-44D6E6745B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418" y="791570"/>
            <a:ext cx="1801091" cy="2131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ggetto 4">
            <a:extLst>
              <a:ext uri="{FF2B5EF4-FFF2-40B4-BE49-F238E27FC236}">
                <a16:creationId xmlns:a16="http://schemas.microsoft.com/office/drawing/2014/main" id="{C87F6B56-CF4D-FB1A-BE68-97466D9C11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3058598"/>
              </p:ext>
            </p:extLst>
          </p:nvPr>
        </p:nvGraphicFramePr>
        <p:xfrm>
          <a:off x="1468582" y="3428999"/>
          <a:ext cx="9254836" cy="18042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8210390" imgH="1371472" progId="Excel.Sheet.12">
                  <p:embed/>
                </p:oleObj>
              </mc:Choice>
              <mc:Fallback>
                <p:oleObj name="Worksheet" r:id="rId3" imgW="8210390" imgH="137147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8582" y="3428999"/>
                        <a:ext cx="9254836" cy="18042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2430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Props1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0</TotalTime>
  <Words>224</Words>
  <Application>Microsoft Office PowerPoint</Application>
  <PresentationFormat>Widescreen</PresentationFormat>
  <Paragraphs>43</Paragraphs>
  <Slides>4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4</vt:i4>
      </vt:variant>
    </vt:vector>
  </HeadingPairs>
  <TitlesOfParts>
    <vt:vector size="16" baseType="lpstr">
      <vt:lpstr>Apple Symbols</vt:lpstr>
      <vt:lpstr>Arial</vt:lpstr>
      <vt:lpstr>Calibri</vt:lpstr>
      <vt:lpstr>Somfy Sans</vt:lpstr>
      <vt:lpstr>Somfy Sans ExtraLight</vt:lpstr>
      <vt:lpstr>Somfy Sans Light</vt:lpstr>
      <vt:lpstr>BtoC</vt:lpstr>
      <vt:lpstr>2_BtoB</vt:lpstr>
      <vt:lpstr>BtoB</vt:lpstr>
      <vt:lpstr>1_BtoB</vt:lpstr>
      <vt:lpstr>think-cell Slide</vt:lpstr>
      <vt:lpstr>Foglio di lavoro di Microsoft Excel</vt:lpstr>
      <vt:lpstr>Presentazione standard di PowerPoint</vt:lpstr>
      <vt:lpstr>ARES ULTRA BT B ARES BT B</vt:lpstr>
      <vt:lpstr>PHASE IN ARES ULTRA BT B </vt:lpstr>
      <vt:lpstr>PHASE IN ARES BT 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MONTINI, Enrico</cp:lastModifiedBy>
  <cp:revision>5</cp:revision>
  <dcterms:created xsi:type="dcterms:W3CDTF">2022-05-02T10:02:42Z</dcterms:created>
  <dcterms:modified xsi:type="dcterms:W3CDTF">2025-09-10T13:4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